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6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275" r:id="rId10"/>
    <p:sldId id="306" r:id="rId11"/>
    <p:sldId id="328" r:id="rId12"/>
    <p:sldId id="320" r:id="rId13"/>
    <p:sldId id="330" r:id="rId14"/>
    <p:sldId id="331" r:id="rId15"/>
    <p:sldId id="333" r:id="rId16"/>
    <p:sldId id="267" r:id="rId17"/>
    <p:sldId id="336" r:id="rId18"/>
    <p:sldId id="335" r:id="rId19"/>
    <p:sldId id="309" r:id="rId20"/>
    <p:sldId id="322" r:id="rId21"/>
    <p:sldId id="323" r:id="rId22"/>
    <p:sldId id="329" r:id="rId23"/>
    <p:sldId id="325" r:id="rId24"/>
    <p:sldId id="318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09" autoAdjust="0"/>
    <p:restoredTop sz="94434" autoAdjust="0"/>
  </p:normalViewPr>
  <p:slideViewPr>
    <p:cSldViewPr>
      <p:cViewPr varScale="1">
        <p:scale>
          <a:sx n="65" d="100"/>
          <a:sy n="65" d="100"/>
        </p:scale>
        <p:origin x="974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/>
      <dgm:spPr/>
      <dgm:t>
        <a:bodyPr/>
        <a:lstStyle/>
        <a:p>
          <a:endParaRPr lang="en-IN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RadScaleRad="83866" custRadScaleInc="677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RadScaleRad="141521" custRadScaleInc="1267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RadScaleRad="20351" custRadScaleInc="-40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RadScaleRad="141940" custRadScaleInc="-115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RadScaleRad="74622" custRadScaleInc="-7678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75917" custRadScaleInc="4592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440843" y="9128"/>
          <a:ext cx="947388" cy="9473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4400" kern="1200" dirty="0"/>
        </a:p>
      </dsp:txBody>
      <dsp:txXfrm>
        <a:off x="1579585" y="147870"/>
        <a:ext cx="669904" cy="669904"/>
      </dsp:txXfrm>
    </dsp:sp>
    <dsp:sp modelId="{6C299B1E-FF91-4041-B597-AC7D7E336DDB}">
      <dsp:nvSpPr>
        <dsp:cNvPr id="0" name=""/>
        <dsp:cNvSpPr/>
      </dsp:nvSpPr>
      <dsp:spPr>
        <a:xfrm rot="7619885">
          <a:off x="512601" y="1321786"/>
          <a:ext cx="1336101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328617" y="1630324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349706" y="1651413"/>
        <a:ext cx="857841" cy="677837"/>
      </dsp:txXfrm>
    </dsp:sp>
    <dsp:sp modelId="{BC821710-D8D6-44B3-AE70-1FB80AE0FF86}">
      <dsp:nvSpPr>
        <dsp:cNvPr id="0" name=""/>
        <dsp:cNvSpPr/>
      </dsp:nvSpPr>
      <dsp:spPr>
        <a:xfrm rot="9600387">
          <a:off x="536980" y="683474"/>
          <a:ext cx="910061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114395" y="614051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135484" y="635140"/>
        <a:ext cx="857841" cy="677837"/>
      </dsp:txXfrm>
    </dsp:sp>
    <dsp:sp modelId="{8351C695-285C-48C7-B152-A664EB02542B}">
      <dsp:nvSpPr>
        <dsp:cNvPr id="0" name=""/>
        <dsp:cNvSpPr/>
      </dsp:nvSpPr>
      <dsp:spPr>
        <a:xfrm rot="5690568">
          <a:off x="1229512" y="1475567"/>
          <a:ext cx="1178953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70E8865-E939-402B-ACC1-7E492C9F957C}">
      <dsp:nvSpPr>
        <dsp:cNvPr id="0" name=""/>
        <dsp:cNvSpPr/>
      </dsp:nvSpPr>
      <dsp:spPr>
        <a:xfrm>
          <a:off x="1319214" y="1837934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1340303" y="1859023"/>
        <a:ext cx="857841" cy="677837"/>
      </dsp:txXfrm>
    </dsp:sp>
    <dsp:sp modelId="{4F41A354-717E-4289-9885-C2E2F256F905}">
      <dsp:nvSpPr>
        <dsp:cNvPr id="0" name=""/>
        <dsp:cNvSpPr/>
      </dsp:nvSpPr>
      <dsp:spPr>
        <a:xfrm rot="1330352">
          <a:off x="2366641" y="693882"/>
          <a:ext cx="794120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06ED78B-8318-45B9-BA8A-B7670E799923}">
      <dsp:nvSpPr>
        <dsp:cNvPr id="0" name=""/>
        <dsp:cNvSpPr/>
      </dsp:nvSpPr>
      <dsp:spPr>
        <a:xfrm>
          <a:off x="2681390" y="618727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2702479" y="639816"/>
        <a:ext cx="857841" cy="677837"/>
      </dsp:txXfrm>
    </dsp:sp>
    <dsp:sp modelId="{C2828057-5F65-4707-A76C-46A6588FAB93}">
      <dsp:nvSpPr>
        <dsp:cNvPr id="0" name=""/>
        <dsp:cNvSpPr/>
      </dsp:nvSpPr>
      <dsp:spPr>
        <a:xfrm rot="3643191">
          <a:off x="1877083" y="1338253"/>
          <a:ext cx="1185616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2309812" y="1630318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2330901" y="1651407"/>
        <a:ext cx="857841" cy="6778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62937" y="0"/>
          <a:ext cx="977283" cy="9772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575" tIns="28575" rIns="28575" bIns="28575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4500" kern="1200" dirty="0"/>
        </a:p>
      </dsp:txBody>
      <dsp:txXfrm>
        <a:off x="1206057" y="143120"/>
        <a:ext cx="691043" cy="691043"/>
      </dsp:txXfrm>
    </dsp:sp>
    <dsp:sp modelId="{6C299B1E-FF91-4041-B597-AC7D7E336DDB}">
      <dsp:nvSpPr>
        <dsp:cNvPr id="0" name=""/>
        <dsp:cNvSpPr/>
      </dsp:nvSpPr>
      <dsp:spPr>
        <a:xfrm rot="8476842">
          <a:off x="396510" y="943835"/>
          <a:ext cx="827157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3196" y="970426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4295" tIns="74295" rIns="74295" bIns="7429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900" kern="1200" dirty="0"/>
        </a:p>
      </dsp:txBody>
      <dsp:txXfrm>
        <a:off x="44950" y="992180"/>
        <a:ext cx="884911" cy="699227"/>
      </dsp:txXfrm>
    </dsp:sp>
    <dsp:sp modelId="{BC821710-D8D6-44B3-AE70-1FB80AE0FF86}">
      <dsp:nvSpPr>
        <dsp:cNvPr id="0" name=""/>
        <dsp:cNvSpPr/>
      </dsp:nvSpPr>
      <dsp:spPr>
        <a:xfrm rot="2439696">
          <a:off x="1862869" y="949854"/>
          <a:ext cx="775550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080589" y="970420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4295" tIns="74295" rIns="74295" bIns="7429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900" kern="1200" dirty="0"/>
        </a:p>
      </dsp:txBody>
      <dsp:txXfrm>
        <a:off x="2102343" y="992174"/>
        <a:ext cx="884911" cy="6992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5/1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5/1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5/1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May 15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AMS_Admin_DeleteAsset.docx" TargetMode="External"/><Relationship Id="rId3" Type="http://schemas.openxmlformats.org/officeDocument/2006/relationships/hyperlink" Target="AMS_Admin_Login.docx" TargetMode="External"/><Relationship Id="rId7" Type="http://schemas.openxmlformats.org/officeDocument/2006/relationships/hyperlink" Target="AMS_Admin_ModifyAsset.docx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AMS_Admin_AddAsset.docx" TargetMode="External"/><Relationship Id="rId5" Type="http://schemas.openxmlformats.org/officeDocument/2006/relationships/hyperlink" Target="AMS_Manager_ViewRequest.docx" TargetMode="External"/><Relationship Id="rId10" Type="http://schemas.openxmlformats.org/officeDocument/2006/relationships/hyperlink" Target="AMS_Admin_Accept_Reject.docx" TargetMode="External"/><Relationship Id="rId4" Type="http://schemas.openxmlformats.org/officeDocument/2006/relationships/hyperlink" Target="AMS_Manager_RaiseRequest.docx" TargetMode="External"/><Relationship Id="rId9" Type="http://schemas.openxmlformats.org/officeDocument/2006/relationships/hyperlink" Target="AMS_Admin_ViewAsset.docx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AMS_Defects.xls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ndafile:8081/AssetManagementSystem_Spring/index.html" TargetMode="Externa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AMS_TestCas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AMS_RVFD.xls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Project name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AMS Manager Login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3" action="ppaction://hlinkfile"/>
              </a:rPr>
              <a:t>AMS Admin Logi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AMS Manager Raise Reques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AMS Manager View Reques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AMS Admin Add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AMS Admin Modify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AMS Admin Delete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9" action="ppaction://hlinkfile"/>
              </a:rPr>
              <a:t>AMS Admin View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10" action="ppaction://hlinkfile"/>
              </a:rPr>
              <a:t>AMS Admin Accept/Reject Asset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A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invalid 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Some of the links present in all the pages is not navigating the user to proper web </a:t>
            </a:r>
            <a:r>
              <a:rPr lang="en-US" b="0" dirty="0" smtClean="0">
                <a:solidFill>
                  <a:schemeClr val="tx1"/>
                </a:solidFill>
              </a:rPr>
              <a:t>pa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There are some common spelling mistakes in all the pag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</a:t>
            </a:r>
            <a:r>
              <a:rPr lang="en-US" b="0" dirty="0" smtClean="0">
                <a:solidFill>
                  <a:schemeClr val="tx1"/>
                </a:solidFill>
              </a:rPr>
              <a:t>entering invalid values in the Asset details 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entering </a:t>
            </a:r>
            <a:r>
              <a:rPr lang="en-US" b="0" dirty="0" smtClean="0">
                <a:solidFill>
                  <a:schemeClr val="tx1"/>
                </a:solidFill>
              </a:rPr>
              <a:t>null </a:t>
            </a:r>
            <a:r>
              <a:rPr lang="en-US" b="0" dirty="0">
                <a:solidFill>
                  <a:schemeClr val="tx1"/>
                </a:solidFill>
              </a:rPr>
              <a:t>values in the Asset details </a:t>
            </a:r>
            <a:r>
              <a:rPr lang="en-US" b="0" dirty="0" smtClean="0">
                <a:solidFill>
                  <a:schemeClr val="tx1"/>
                </a:solidFill>
              </a:rPr>
              <a:t>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user </a:t>
            </a:r>
            <a:r>
              <a:rPr lang="en-US" b="0" dirty="0" smtClean="0">
                <a:solidFill>
                  <a:schemeClr val="tx1"/>
                </a:solidFill>
              </a:rPr>
              <a:t>is able to view status of raised request even with entering invalid Emp No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Manag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both the username and password fields as </a:t>
            </a:r>
            <a:r>
              <a:rPr lang="en-US" b="0" dirty="0" smtClean="0">
                <a:solidFill>
                  <a:schemeClr val="tx1"/>
                </a:solidFill>
              </a:rPr>
              <a:t>blank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</a:t>
            </a:r>
            <a:r>
              <a:rPr lang="en-US" b="0" dirty="0" smtClean="0">
                <a:solidFill>
                  <a:schemeClr val="tx1"/>
                </a:solidFill>
              </a:rPr>
              <a:t>invalid </a:t>
            </a:r>
            <a:r>
              <a:rPr lang="en-US" b="0" dirty="0">
                <a:solidFill>
                  <a:schemeClr val="tx1"/>
                </a:solidFill>
              </a:rPr>
              <a:t>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ome of the links present in all the pages is not navigating the user to proper web page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re are some common spelling mistakes in all the pages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asset details </a:t>
            </a:r>
            <a:r>
              <a:rPr lang="en-US" b="0" dirty="0" smtClean="0">
                <a:solidFill>
                  <a:schemeClr val="tx1"/>
                </a:solidFill>
              </a:rPr>
              <a:t>fields </a:t>
            </a:r>
            <a:r>
              <a:rPr lang="en-US" b="0" dirty="0">
                <a:solidFill>
                  <a:schemeClr val="tx1"/>
                </a:solidFill>
              </a:rPr>
              <a:t>as </a:t>
            </a:r>
            <a:r>
              <a:rPr lang="en-US" b="0" dirty="0" smtClean="0">
                <a:solidFill>
                  <a:schemeClr val="tx1"/>
                </a:solidFill>
              </a:rPr>
              <a:t>blank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</a:t>
            </a:r>
            <a:r>
              <a:rPr lang="en-US" b="0" dirty="0" smtClean="0">
                <a:solidFill>
                  <a:schemeClr val="tx1"/>
                </a:solidFill>
              </a:rPr>
              <a:t>values in asset details fields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AssetManagementSystem_Spring/index.html</a:t>
            </a:r>
            <a:endParaRPr lang="en-US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1828799"/>
            <a:ext cx="8305800" cy="4191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5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106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5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44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9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43000"/>
            <a:ext cx="8305800" cy="51816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AMS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939036906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382963080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A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97</TotalTime>
  <Words>690</Words>
  <Application>Microsoft Office PowerPoint</Application>
  <PresentationFormat>On-screen Show (4:3)</PresentationFormat>
  <Paragraphs>121</Paragraphs>
  <Slides>2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AMS TEST cASE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HYPERLINKS</vt:lpstr>
      <vt:lpstr>DFDR</vt:lpstr>
      <vt:lpstr>DEFECTS FOUND</vt:lpstr>
      <vt:lpstr>DEFECTS FOUND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Henitha, Christy</cp:lastModifiedBy>
  <cp:revision>150</cp:revision>
  <dcterms:created xsi:type="dcterms:W3CDTF">2015-08-27T08:52:20Z</dcterms:created>
  <dcterms:modified xsi:type="dcterms:W3CDTF">2018-05-15T11:46:53Z</dcterms:modified>
</cp:coreProperties>
</file>